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2" r:id="rId5"/>
  </p:sldMasterIdLst>
  <p:notesMasterIdLst>
    <p:notesMasterId r:id="rId8"/>
  </p:notesMasterIdLst>
  <p:sldIdLst>
    <p:sldId id="307" r:id="rId6"/>
    <p:sldId id="27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668" y="76"/>
      </p:cViewPr>
      <p:guideLst>
        <p:guide orient="horz" pos="142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lwia Sekula-Neuner" userId="eb3cf9ea-7e1a-4747-b59f-da3eecfb8632" providerId="ADAL" clId="{8ADA50B6-43F5-4BB9-A21C-D6666F693B8E}"/>
    <pc:docChg chg="undo custSel modSld">
      <pc:chgData name="Sylwia Sekula-Neuner" userId="eb3cf9ea-7e1a-4747-b59f-da3eecfb8632" providerId="ADAL" clId="{8ADA50B6-43F5-4BB9-A21C-D6666F693B8E}" dt="2024-06-20T14:54:02.168" v="81" actId="207"/>
      <pc:docMkLst>
        <pc:docMk/>
      </pc:docMkLst>
      <pc:sldChg chg="addSp delSp modSp mod">
        <pc:chgData name="Sylwia Sekula-Neuner" userId="eb3cf9ea-7e1a-4747-b59f-da3eecfb8632" providerId="ADAL" clId="{8ADA50B6-43F5-4BB9-A21C-D6666F693B8E}" dt="2024-06-18T10:54:50.716" v="78" actId="20577"/>
        <pc:sldMkLst>
          <pc:docMk/>
          <pc:sldMk cId="799247734" sldId="279"/>
        </pc:sldMkLst>
        <pc:spChg chg="mod">
          <ac:chgData name="Sylwia Sekula-Neuner" userId="eb3cf9ea-7e1a-4747-b59f-da3eecfb8632" providerId="ADAL" clId="{8ADA50B6-43F5-4BB9-A21C-D6666F693B8E}" dt="2024-06-18T10:51:17.273" v="15" actId="20577"/>
          <ac:spMkLst>
            <pc:docMk/>
            <pc:sldMk cId="799247734" sldId="279"/>
            <ac:spMk id="5" creationId="{B7032905-C411-4FD5-8C26-C8A2F05682E3}"/>
          </ac:spMkLst>
        </pc:spChg>
        <pc:spChg chg="mod">
          <ac:chgData name="Sylwia Sekula-Neuner" userId="eb3cf9ea-7e1a-4747-b59f-da3eecfb8632" providerId="ADAL" clId="{8ADA50B6-43F5-4BB9-A21C-D6666F693B8E}" dt="2024-06-18T10:53:36.937" v="58" actId="1076"/>
          <ac:spMkLst>
            <pc:docMk/>
            <pc:sldMk cId="799247734" sldId="279"/>
            <ac:spMk id="6" creationId="{028DAA81-F2A5-4A11-A3B2-095090308B68}"/>
          </ac:spMkLst>
        </pc:spChg>
        <pc:spChg chg="mod">
          <ac:chgData name="Sylwia Sekula-Neuner" userId="eb3cf9ea-7e1a-4747-b59f-da3eecfb8632" providerId="ADAL" clId="{8ADA50B6-43F5-4BB9-A21C-D6666F693B8E}" dt="2024-06-18T10:19:03.078" v="0" actId="14100"/>
          <ac:spMkLst>
            <pc:docMk/>
            <pc:sldMk cId="799247734" sldId="279"/>
            <ac:spMk id="14" creationId="{CC3AB14B-EBAE-4C42-8E9A-8F50A3CE3319}"/>
          </ac:spMkLst>
        </pc:spChg>
        <pc:spChg chg="add del mod">
          <ac:chgData name="Sylwia Sekula-Neuner" userId="eb3cf9ea-7e1a-4747-b59f-da3eecfb8632" providerId="ADAL" clId="{8ADA50B6-43F5-4BB9-A21C-D6666F693B8E}" dt="2024-06-18T10:51:04.987" v="12" actId="20577"/>
          <ac:spMkLst>
            <pc:docMk/>
            <pc:sldMk cId="799247734" sldId="279"/>
            <ac:spMk id="16" creationId="{8A8C43A6-C3BA-48A6-8FAF-672CF2D7A7CC}"/>
          </ac:spMkLst>
        </pc:spChg>
        <pc:spChg chg="add del mod">
          <ac:chgData name="Sylwia Sekula-Neuner" userId="eb3cf9ea-7e1a-4747-b59f-da3eecfb8632" providerId="ADAL" clId="{8ADA50B6-43F5-4BB9-A21C-D6666F693B8E}" dt="2024-06-18T10:50:59.115" v="11" actId="20577"/>
          <ac:spMkLst>
            <pc:docMk/>
            <pc:sldMk cId="799247734" sldId="279"/>
            <ac:spMk id="17" creationId="{239AAE83-83CB-4D07-93B0-658FDB8044DA}"/>
          </ac:spMkLst>
        </pc:spChg>
        <pc:spChg chg="mod">
          <ac:chgData name="Sylwia Sekula-Neuner" userId="eb3cf9ea-7e1a-4747-b59f-da3eecfb8632" providerId="ADAL" clId="{8ADA50B6-43F5-4BB9-A21C-D6666F693B8E}" dt="2024-06-18T10:51:12.481" v="14" actId="20577"/>
          <ac:spMkLst>
            <pc:docMk/>
            <pc:sldMk cId="799247734" sldId="279"/>
            <ac:spMk id="19" creationId="{D875625B-1444-41A8-B114-AEA1A66044E9}"/>
          </ac:spMkLst>
        </pc:spChg>
        <pc:spChg chg="add del mod">
          <ac:chgData name="Sylwia Sekula-Neuner" userId="eb3cf9ea-7e1a-4747-b59f-da3eecfb8632" providerId="ADAL" clId="{8ADA50B6-43F5-4BB9-A21C-D6666F693B8E}" dt="2024-06-18T10:51:09.173" v="13" actId="20577"/>
          <ac:spMkLst>
            <pc:docMk/>
            <pc:sldMk cId="799247734" sldId="279"/>
            <ac:spMk id="20" creationId="{A7E0A4AD-2F40-48CE-8454-7C71C26A8B4C}"/>
          </ac:spMkLst>
        </pc:spChg>
        <pc:spChg chg="mod">
          <ac:chgData name="Sylwia Sekula-Neuner" userId="eb3cf9ea-7e1a-4747-b59f-da3eecfb8632" providerId="ADAL" clId="{8ADA50B6-43F5-4BB9-A21C-D6666F693B8E}" dt="2024-06-18T10:19:05.260" v="1" actId="14100"/>
          <ac:spMkLst>
            <pc:docMk/>
            <pc:sldMk cId="799247734" sldId="279"/>
            <ac:spMk id="23" creationId="{7D835B1C-FFE3-41CF-8D64-8DABDC5F9323}"/>
          </ac:spMkLst>
        </pc:spChg>
        <pc:spChg chg="mod">
          <ac:chgData name="Sylwia Sekula-Neuner" userId="eb3cf9ea-7e1a-4747-b59f-da3eecfb8632" providerId="ADAL" clId="{8ADA50B6-43F5-4BB9-A21C-D6666F693B8E}" dt="2024-06-18T10:54:50.716" v="78" actId="20577"/>
          <ac:spMkLst>
            <pc:docMk/>
            <pc:sldMk cId="799247734" sldId="279"/>
            <ac:spMk id="24" creationId="{34CB2ED1-FFB7-4381-A916-574B827E24B2}"/>
          </ac:spMkLst>
        </pc:spChg>
        <pc:spChg chg="mod">
          <ac:chgData name="Sylwia Sekula-Neuner" userId="eb3cf9ea-7e1a-4747-b59f-da3eecfb8632" providerId="ADAL" clId="{8ADA50B6-43F5-4BB9-A21C-D6666F693B8E}" dt="2024-06-18T10:52:01.410" v="32" actId="465"/>
          <ac:spMkLst>
            <pc:docMk/>
            <pc:sldMk cId="799247734" sldId="279"/>
            <ac:spMk id="26" creationId="{503549EA-88FD-4F82-B775-E311943AB39C}"/>
          </ac:spMkLst>
        </pc:spChg>
        <pc:spChg chg="add del mod">
          <ac:chgData name="Sylwia Sekula-Neuner" userId="eb3cf9ea-7e1a-4747-b59f-da3eecfb8632" providerId="ADAL" clId="{8ADA50B6-43F5-4BB9-A21C-D6666F693B8E}" dt="2024-06-18T10:53:53.183" v="65" actId="478"/>
          <ac:spMkLst>
            <pc:docMk/>
            <pc:sldMk cId="799247734" sldId="279"/>
            <ac:spMk id="31" creationId="{65E51471-83E9-4181-9D27-1BD5F03124A2}"/>
          </ac:spMkLst>
        </pc:spChg>
        <pc:spChg chg="mod">
          <ac:chgData name="Sylwia Sekula-Neuner" userId="eb3cf9ea-7e1a-4747-b59f-da3eecfb8632" providerId="ADAL" clId="{8ADA50B6-43F5-4BB9-A21C-D6666F693B8E}" dt="2024-06-18T10:53:40.063" v="61" actId="1036"/>
          <ac:spMkLst>
            <pc:docMk/>
            <pc:sldMk cId="799247734" sldId="279"/>
            <ac:spMk id="32" creationId="{3972B888-7057-4EED-AF25-AB8418D37BCB}"/>
          </ac:spMkLst>
        </pc:spChg>
        <pc:spChg chg="mod">
          <ac:chgData name="Sylwia Sekula-Neuner" userId="eb3cf9ea-7e1a-4747-b59f-da3eecfb8632" providerId="ADAL" clId="{8ADA50B6-43F5-4BB9-A21C-D6666F693B8E}" dt="2024-06-18T10:53:40.063" v="61" actId="1036"/>
          <ac:spMkLst>
            <pc:docMk/>
            <pc:sldMk cId="799247734" sldId="279"/>
            <ac:spMk id="33" creationId="{2B7220CD-C02C-4F62-9C39-CE0876FC82A5}"/>
          </ac:spMkLst>
        </pc:spChg>
        <pc:spChg chg="mod">
          <ac:chgData name="Sylwia Sekula-Neuner" userId="eb3cf9ea-7e1a-4747-b59f-da3eecfb8632" providerId="ADAL" clId="{8ADA50B6-43F5-4BB9-A21C-D6666F693B8E}" dt="2024-06-18T10:53:40.063" v="61" actId="1036"/>
          <ac:spMkLst>
            <pc:docMk/>
            <pc:sldMk cId="799247734" sldId="279"/>
            <ac:spMk id="34" creationId="{83F48CDD-0C97-463A-A1F4-553A7B4CCDCD}"/>
          </ac:spMkLst>
        </pc:spChg>
        <pc:spChg chg="mod">
          <ac:chgData name="Sylwia Sekula-Neuner" userId="eb3cf9ea-7e1a-4747-b59f-da3eecfb8632" providerId="ADAL" clId="{8ADA50B6-43F5-4BB9-A21C-D6666F693B8E}" dt="2024-06-18T10:53:40.063" v="61" actId="1036"/>
          <ac:spMkLst>
            <pc:docMk/>
            <pc:sldMk cId="799247734" sldId="279"/>
            <ac:spMk id="35" creationId="{8D27D10D-6A23-4095-886F-9C14163B7FCA}"/>
          </ac:spMkLst>
        </pc:spChg>
        <pc:spChg chg="mod">
          <ac:chgData name="Sylwia Sekula-Neuner" userId="eb3cf9ea-7e1a-4747-b59f-da3eecfb8632" providerId="ADAL" clId="{8ADA50B6-43F5-4BB9-A21C-D6666F693B8E}" dt="2024-06-18T10:53:26.539" v="47" actId="1037"/>
          <ac:spMkLst>
            <pc:docMk/>
            <pc:sldMk cId="799247734" sldId="279"/>
            <ac:spMk id="36" creationId="{E6DFB337-BE1F-4051-8B63-EF358CCC8015}"/>
          </ac:spMkLst>
        </pc:spChg>
        <pc:spChg chg="mod">
          <ac:chgData name="Sylwia Sekula-Neuner" userId="eb3cf9ea-7e1a-4747-b59f-da3eecfb8632" providerId="ADAL" clId="{8ADA50B6-43F5-4BB9-A21C-D6666F693B8E}" dt="2024-06-18T10:53:26.539" v="47" actId="1037"/>
          <ac:spMkLst>
            <pc:docMk/>
            <pc:sldMk cId="799247734" sldId="279"/>
            <ac:spMk id="37" creationId="{F842BD1A-AFB3-46A7-A6A8-566ED27D9C65}"/>
          </ac:spMkLst>
        </pc:spChg>
        <pc:spChg chg="mod">
          <ac:chgData name="Sylwia Sekula-Neuner" userId="eb3cf9ea-7e1a-4747-b59f-da3eecfb8632" providerId="ADAL" clId="{8ADA50B6-43F5-4BB9-A21C-D6666F693B8E}" dt="2024-06-18T10:53:26.539" v="47" actId="1037"/>
          <ac:spMkLst>
            <pc:docMk/>
            <pc:sldMk cId="799247734" sldId="279"/>
            <ac:spMk id="38" creationId="{4678CBFD-453C-4EA7-BC10-3338E51B0FFA}"/>
          </ac:spMkLst>
        </pc:spChg>
        <pc:spChg chg="mod">
          <ac:chgData name="Sylwia Sekula-Neuner" userId="eb3cf9ea-7e1a-4747-b59f-da3eecfb8632" providerId="ADAL" clId="{8ADA50B6-43F5-4BB9-A21C-D6666F693B8E}" dt="2024-06-18T10:53:26.539" v="47" actId="1037"/>
          <ac:spMkLst>
            <pc:docMk/>
            <pc:sldMk cId="799247734" sldId="279"/>
            <ac:spMk id="39" creationId="{47FB9BB0-984E-4449-9206-5BFDB3C097B5}"/>
          </ac:spMkLst>
        </pc:spChg>
        <pc:spChg chg="mod">
          <ac:chgData name="Sylwia Sekula-Neuner" userId="eb3cf9ea-7e1a-4747-b59f-da3eecfb8632" providerId="ADAL" clId="{8ADA50B6-43F5-4BB9-A21C-D6666F693B8E}" dt="2024-06-18T10:53:26.539" v="47" actId="1037"/>
          <ac:spMkLst>
            <pc:docMk/>
            <pc:sldMk cId="799247734" sldId="279"/>
            <ac:spMk id="40" creationId="{663BA905-A74A-40E4-B7CF-225F9B46F569}"/>
          </ac:spMkLst>
        </pc:spChg>
      </pc:sldChg>
      <pc:sldChg chg="modSp mod">
        <pc:chgData name="Sylwia Sekula-Neuner" userId="eb3cf9ea-7e1a-4747-b59f-da3eecfb8632" providerId="ADAL" clId="{8ADA50B6-43F5-4BB9-A21C-D6666F693B8E}" dt="2024-06-20T14:54:02.168" v="81" actId="207"/>
        <pc:sldMkLst>
          <pc:docMk/>
          <pc:sldMk cId="0" sldId="307"/>
        </pc:sldMkLst>
        <pc:spChg chg="mod">
          <ac:chgData name="Sylwia Sekula-Neuner" userId="eb3cf9ea-7e1a-4747-b59f-da3eecfb8632" providerId="ADAL" clId="{8ADA50B6-43F5-4BB9-A21C-D6666F693B8E}" dt="2024-06-20T14:53:53.431" v="80" actId="20577"/>
          <ac:spMkLst>
            <pc:docMk/>
            <pc:sldMk cId="0" sldId="307"/>
            <ac:spMk id="7" creationId="{00000000-0000-0000-0000-000000000000}"/>
          </ac:spMkLst>
        </pc:spChg>
        <pc:spChg chg="mod">
          <ac:chgData name="Sylwia Sekula-Neuner" userId="eb3cf9ea-7e1a-4747-b59f-da3eecfb8632" providerId="ADAL" clId="{8ADA50B6-43F5-4BB9-A21C-D6666F693B8E}" dt="2024-06-20T14:54:02.168" v="81" actId="207"/>
          <ac:spMkLst>
            <pc:docMk/>
            <pc:sldMk cId="0" sldId="307"/>
            <ac:spMk id="11" creationId="{3A5321BB-1FB7-40AB-94DA-1FD3311B516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96505-C9A9-4D51-82DD-6C806665F7F1}" type="datetimeFigureOut">
              <a:rPr lang="de-DE" smtClean="0"/>
              <a:t>20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FEDC1-FA48-464C-828F-431D174D8E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0992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" name="Google Shape;393;g11b84f36c58_1_8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4" name="Google Shape;394;g11b84f36c58_1_860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3963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freepik.com/" TargetMode="Externa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69967" y="1877433"/>
            <a:ext cx="5821600" cy="232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5200"/>
              <a:buFont typeface="Titillium Web"/>
              <a:buNone/>
              <a:defRPr sz="5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828033" y="4152533"/>
            <a:ext cx="5563600" cy="60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grpSp>
        <p:nvGrpSpPr>
          <p:cNvPr id="12" name="Google Shape;12;p2"/>
          <p:cNvGrpSpPr/>
          <p:nvPr/>
        </p:nvGrpSpPr>
        <p:grpSpPr>
          <a:xfrm>
            <a:off x="308300" y="306342"/>
            <a:ext cx="11632000" cy="5622892"/>
            <a:chOff x="231225" y="229756"/>
            <a:chExt cx="8724000" cy="4217169"/>
          </a:xfrm>
        </p:grpSpPr>
        <p:sp>
          <p:nvSpPr>
            <p:cNvPr id="13" name="Google Shape;13;p2"/>
            <p:cNvSpPr/>
            <p:nvPr/>
          </p:nvSpPr>
          <p:spPr>
            <a:xfrm>
              <a:off x="231225" y="3733500"/>
              <a:ext cx="389700" cy="389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60AD7B8C-8442-2499-8B83-F36252BDCBBA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ED197390-5ACA-EFA3-85EA-578483AB8DDE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2337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17709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228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77914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50654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1_Title and two columns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6" name="Google Shape;196;p18"/>
          <p:cNvSpPr txBox="1">
            <a:spLocks noGrp="1"/>
          </p:cNvSpPr>
          <p:nvPr>
            <p:ph type="subTitle" idx="1"/>
          </p:nvPr>
        </p:nvSpPr>
        <p:spPr>
          <a:xfrm>
            <a:off x="6394067" y="1605167"/>
            <a:ext cx="4328800" cy="678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7" name="Google Shape;197;p18"/>
          <p:cNvSpPr txBox="1">
            <a:spLocks noGrp="1"/>
          </p:cNvSpPr>
          <p:nvPr>
            <p:ph type="subTitle" idx="2"/>
          </p:nvPr>
        </p:nvSpPr>
        <p:spPr>
          <a:xfrm>
            <a:off x="1487067" y="1611584"/>
            <a:ext cx="4328800" cy="678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8" name="Google Shape;198;p18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9" name="Google Shape;199;p18"/>
          <p:cNvSpPr txBox="1">
            <a:spLocks noGrp="1"/>
          </p:cNvSpPr>
          <p:nvPr>
            <p:ph type="subTitle" idx="3"/>
          </p:nvPr>
        </p:nvSpPr>
        <p:spPr>
          <a:xfrm>
            <a:off x="6394067" y="2474244"/>
            <a:ext cx="4328800" cy="271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00" name="Google Shape;200;p18"/>
          <p:cNvSpPr txBox="1">
            <a:spLocks noGrp="1"/>
          </p:cNvSpPr>
          <p:nvPr>
            <p:ph type="subTitle" idx="4"/>
          </p:nvPr>
        </p:nvSpPr>
        <p:spPr>
          <a:xfrm>
            <a:off x="1487067" y="2474244"/>
            <a:ext cx="4328800" cy="271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01" name="Google Shape;201;p1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202" name="Google Shape;202;p1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203" name="Google Shape;203;p1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4" name="Google Shape;204;p1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5" name="Google Shape;205;p1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6" name="Google Shape;206;p1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7" name="Google Shape;207;p1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8" name="Google Shape;208;p1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09" name="Google Shape;209;p1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994EBD9F-FA67-49A5-1331-CB3339C81D0E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D7DD16C3-E521-7385-B8B0-2417ECC675DF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5943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939475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372042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19766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526794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79812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9" name="Google Shape;19;p3"/>
          <p:cNvGrpSpPr/>
          <p:nvPr/>
        </p:nvGrpSpPr>
        <p:grpSpPr>
          <a:xfrm flipH="1">
            <a:off x="1435108" y="4665574"/>
            <a:ext cx="9321785" cy="1773239"/>
            <a:chOff x="404800" y="1010238"/>
            <a:chExt cx="8208688" cy="1561500"/>
          </a:xfrm>
        </p:grpSpPr>
        <p:sp>
          <p:nvSpPr>
            <p:cNvPr id="20" name="Google Shape;20;p3"/>
            <p:cNvSpPr/>
            <p:nvPr/>
          </p:nvSpPr>
          <p:spPr>
            <a:xfrm>
              <a:off x="2560391" y="1010238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" name="Google Shape;21;p3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" name="Google Shape;22;p3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4" name="Google Shape;24;p3"/>
          <p:cNvSpPr/>
          <p:nvPr/>
        </p:nvSpPr>
        <p:spPr>
          <a:xfrm flipH="1">
            <a:off x="4544803" y="1020673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5" name="Google Shape;25;p3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26" name="Google Shape;26;p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" name="Google Shape;27;p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" name="Google Shape;28;p3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" name="Google Shape;29;p3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" name="Google Shape;30;p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1" name="Google Shape;31;p3"/>
          <p:cNvSpPr txBox="1">
            <a:spLocks noGrp="1"/>
          </p:cNvSpPr>
          <p:nvPr>
            <p:ph type="title"/>
          </p:nvPr>
        </p:nvSpPr>
        <p:spPr>
          <a:xfrm>
            <a:off x="2516000" y="2309600"/>
            <a:ext cx="7160000" cy="223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01A63993-10BC-91EF-7BAF-7073D0C3DC1F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ABA2C122-10B5-08DA-2547-9D0C1955C5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1376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2091254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4300655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28782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ackground 3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2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16" name="Google Shape;316;p27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317" name="Google Shape;317;p27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8" name="Google Shape;318;p27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9" name="Google Shape;319;p27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0" name="Google Shape;320;p27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1" name="Google Shape;321;p27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2" name="Google Shape;322;p27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3" name="Google Shape;323;p2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0FF48715-5AA0-1F35-CC88-18D848B5E8F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536601DB-BAAD-6BA1-05D1-ABCFF7A87174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693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12" name="Google Shape;65;p15">
            <a:extLst>
              <a:ext uri="{FF2B5EF4-FFF2-40B4-BE49-F238E27FC236}">
                <a16:creationId xmlns:a16="http://schemas.microsoft.com/office/drawing/2014/main" id="{6133EA0D-7F3F-4018-B6FA-A7B2A5EBCCE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 rot="16200000">
            <a:off x="-224557" y="4578458"/>
            <a:ext cx="1292124" cy="5714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66;p15">
            <a:extLst>
              <a:ext uri="{FF2B5EF4-FFF2-40B4-BE49-F238E27FC236}">
                <a16:creationId xmlns:a16="http://schemas.microsoft.com/office/drawing/2014/main" id="{9AFB65ED-AE87-486A-8D90-EB45CD4606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7032" y="6013287"/>
            <a:ext cx="3168534" cy="5476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8869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03544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8606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8907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843503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8350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body" idx="1"/>
          </p:nvPr>
        </p:nvSpPr>
        <p:spPr>
          <a:xfrm>
            <a:off x="950967" y="1382367"/>
            <a:ext cx="10290000" cy="44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60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grpSp>
        <p:nvGrpSpPr>
          <p:cNvPr id="36" name="Google Shape;36;p4"/>
          <p:cNvGrpSpPr/>
          <p:nvPr/>
        </p:nvGrpSpPr>
        <p:grpSpPr>
          <a:xfrm flipH="1">
            <a:off x="221301" y="306342"/>
            <a:ext cx="11579300" cy="5622892"/>
            <a:chOff x="270750" y="229756"/>
            <a:chExt cx="8684475" cy="4217169"/>
          </a:xfrm>
        </p:grpSpPr>
        <p:sp>
          <p:nvSpPr>
            <p:cNvPr id="37" name="Google Shape;37;p4"/>
            <p:cNvSpPr/>
            <p:nvPr/>
          </p:nvSpPr>
          <p:spPr>
            <a:xfrm>
              <a:off x="270750" y="34005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" name="Google Shape;39;p4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" name="Google Shape;40;p4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35055250-5DC8-0767-EA63-40D89C01BB9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86475A4C-11B4-4AC0-2D86-99237CB0FD2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8503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0110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68758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8072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736614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8994212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52448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574389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0499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533045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98503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2812462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1741560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349605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39485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903349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2296680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8303168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83352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07209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6043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0024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717792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745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99321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347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23869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755128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44" imgH="443" progId="TCLayout.ActiveDocument.1">
                  <p:embed/>
                </p:oleObj>
              </mc:Choice>
              <mc:Fallback>
                <p:oleObj name="think-cell Slide" r:id="rId30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118859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759489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444" imgH="443" progId="TCLayout.ActiveDocument.1">
                  <p:embed/>
                </p:oleObj>
              </mc:Choice>
              <mc:Fallback>
                <p:oleObj name="think-cell Folie" r:id="rId25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88048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2700000">
            <a:off x="7631116" y="3795351"/>
            <a:ext cx="2727720" cy="27432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Freeform 3"/>
          <p:cNvSpPr/>
          <p:nvPr/>
        </p:nvSpPr>
        <p:spPr>
          <a:xfrm flipH="1" flipV="1">
            <a:off x="10534520" y="4917644"/>
            <a:ext cx="1657480" cy="1940357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685800" y="564835"/>
            <a:ext cx="2584645" cy="1089487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685800" y="2218805"/>
            <a:ext cx="7302707" cy="30103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7666"/>
              </a:lnSpc>
              <a:buClr>
                <a:srgbClr val="000000"/>
              </a:buClr>
            </a:pPr>
            <a: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Team Up 2024 </a:t>
            </a: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endParaRPr lang="en-US" sz="7666" kern="0" dirty="0">
              <a:solidFill>
                <a:srgbClr val="000000"/>
              </a:solidFill>
              <a:latin typeface="Titillium Web Bold"/>
              <a:cs typeface="Arial"/>
              <a:sym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785037" y="3175648"/>
            <a:ext cx="3863691" cy="3513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2800"/>
              </a:lnSpc>
              <a:buClr>
                <a:srgbClr val="000000"/>
              </a:buClr>
            </a:pPr>
            <a:r>
              <a:rPr lang="en-US" sz="21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From the idea to the market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8418015" y="2245265"/>
            <a:ext cx="3088187" cy="407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1219170">
              <a:lnSpc>
                <a:spcPts val="3267"/>
              </a:lnSpc>
              <a:buClr>
                <a:srgbClr val="000000"/>
              </a:buClr>
            </a:pPr>
            <a:r>
              <a:rPr lang="en-US" sz="23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June 25, 2024</a:t>
            </a:r>
          </a:p>
        </p:txBody>
      </p:sp>
      <p:sp>
        <p:nvSpPr>
          <p:cNvPr id="8" name="Freeform 8"/>
          <p:cNvSpPr/>
          <p:nvPr/>
        </p:nvSpPr>
        <p:spPr>
          <a:xfrm>
            <a:off x="6483752" y="685801"/>
            <a:ext cx="5022448" cy="847556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A5321BB-1FB7-40AB-94DA-1FD3311B516E}"/>
              </a:ext>
            </a:extLst>
          </p:cNvPr>
          <p:cNvSpPr txBox="1"/>
          <p:nvPr/>
        </p:nvSpPr>
        <p:spPr>
          <a:xfrm>
            <a:off x="662533" y="3815582"/>
            <a:ext cx="4320172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totyping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Canvas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of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</a:p>
          <a:p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(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add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your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Team /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duct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nam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her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)</a:t>
            </a:r>
            <a:endParaRPr lang="en-GB" sz="2500" b="1" dirty="0">
              <a:solidFill>
                <a:schemeClr val="accent2">
                  <a:lumMod val="50000"/>
                </a:schemeClr>
              </a:solidFill>
              <a:latin typeface="Titillium Web Bold" panose="00000800000000000000" pitchFamily="2" charset="0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F9D6A2E9-759D-45DA-8C32-4480D0E65B59}"/>
              </a:ext>
            </a:extLst>
          </p:cNvPr>
          <p:cNvSpPr/>
          <p:nvPr/>
        </p:nvSpPr>
        <p:spPr>
          <a:xfrm>
            <a:off x="5164154" y="3447975"/>
            <a:ext cx="3631134" cy="3010376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28DAA81-F2A5-4A11-A3B2-095090308B68}"/>
              </a:ext>
            </a:extLst>
          </p:cNvPr>
          <p:cNvSpPr/>
          <p:nvPr/>
        </p:nvSpPr>
        <p:spPr>
          <a:xfrm>
            <a:off x="-52990" y="0"/>
            <a:ext cx="13005879" cy="81493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Arial"/>
              <a:sym typeface="Arial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E6C720-85E4-97C7-2C74-860D58A80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E6C720-85E4-97C7-2C74-860D58A80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6" name="Google Shape;396;p36"/>
          <p:cNvSpPr txBox="1">
            <a:spLocks noGrp="1"/>
          </p:cNvSpPr>
          <p:nvPr>
            <p:ph type="title"/>
          </p:nvPr>
        </p:nvSpPr>
        <p:spPr>
          <a:xfrm rot="16200000">
            <a:off x="-3811566" y="3758575"/>
            <a:ext cx="8149389" cy="632235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GB" sz="4000" dirty="0"/>
              <a:t>Prototype canvas</a:t>
            </a:r>
            <a:endParaRPr lang="en-US" sz="4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7032905-C411-4FD5-8C26-C8A2F05682E3}"/>
              </a:ext>
            </a:extLst>
          </p:cNvPr>
          <p:cNvSpPr txBox="1"/>
          <p:nvPr/>
        </p:nvSpPr>
        <p:spPr>
          <a:xfrm>
            <a:off x="3833133" y="1184352"/>
            <a:ext cx="4737592" cy="22259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seource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uild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: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hav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s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eded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ime; Money &amp; People?</a:t>
            </a:r>
          </a:p>
          <a:p>
            <a:pPr defTabSz="1219170">
              <a:buClr>
                <a:srgbClr val="000000"/>
              </a:buClr>
            </a:pP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6B70417-8899-46CF-B90D-A871FDC36131}"/>
              </a:ext>
            </a:extLst>
          </p:cNvPr>
          <p:cNvSpPr txBox="1"/>
          <p:nvPr/>
        </p:nvSpPr>
        <p:spPr>
          <a:xfrm>
            <a:off x="8631106" y="1176625"/>
            <a:ext cx="4117625" cy="423622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e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uil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imple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prototype possible (least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,&amp;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terial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)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umption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nswer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questions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355D76A-ABF2-4DC4-9391-966802291AA6}"/>
              </a:ext>
            </a:extLst>
          </p:cNvPr>
          <p:cNvSpPr txBox="1"/>
          <p:nvPr/>
        </p:nvSpPr>
        <p:spPr>
          <a:xfrm>
            <a:off x="579246" y="1182384"/>
            <a:ext cx="3211109" cy="39095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ssumptions</a:t>
            </a:r>
            <a:r>
              <a:rPr lang="de-DE" sz="1333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Questions: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br>
              <a:rPr lang="de-DE" sz="10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lients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ir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needs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echnical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easibility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unctionality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st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business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D99FC2-272B-4596-95C2-245A9DF9C344}"/>
              </a:ext>
            </a:extLst>
          </p:cNvPr>
          <p:cNvSpPr txBox="1"/>
          <p:nvPr/>
        </p:nvSpPr>
        <p:spPr>
          <a:xfrm>
            <a:off x="8628469" y="5494768"/>
            <a:ext cx="4117625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ucce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en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3AB14B-EBAE-4C42-8E9A-8F50A3CE3319}"/>
              </a:ext>
            </a:extLst>
          </p:cNvPr>
          <p:cNvSpPr txBox="1"/>
          <p:nvPr/>
        </p:nvSpPr>
        <p:spPr>
          <a:xfrm>
            <a:off x="8611128" y="6272319"/>
            <a:ext cx="4134966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cal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mpact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A8C43A6-C3BA-48A6-8FAF-672CF2D7A7CC}"/>
              </a:ext>
            </a:extLst>
          </p:cNvPr>
          <p:cNvSpPr txBox="1"/>
          <p:nvPr/>
        </p:nvSpPr>
        <p:spPr>
          <a:xfrm>
            <a:off x="579246" y="229997"/>
            <a:ext cx="3211109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oblem / </a:t>
            </a:r>
            <a:r>
              <a:rPr lang="de-DE" sz="1333" b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pportunity</a:t>
            </a:r>
            <a:endParaRPr lang="de-DE" sz="1333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39AAE83-83CB-4D07-93B0-658FDB8044DA}"/>
              </a:ext>
            </a:extLst>
          </p:cNvPr>
          <p:cNvSpPr txBox="1"/>
          <p:nvPr/>
        </p:nvSpPr>
        <p:spPr>
          <a:xfrm>
            <a:off x="3833134" y="229997"/>
            <a:ext cx="2424849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olution / Concept?</a:t>
            </a:r>
          </a:p>
          <a:p>
            <a:pPr defTabSz="1219170">
              <a:buClr>
                <a:srgbClr val="000000"/>
              </a:buClr>
            </a:pP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38090EE-C1BC-4995-A884-4063124D589E}"/>
              </a:ext>
            </a:extLst>
          </p:cNvPr>
          <p:cNvSpPr txBox="1"/>
          <p:nvPr/>
        </p:nvSpPr>
        <p:spPr>
          <a:xfrm>
            <a:off x="3831720" y="7311487"/>
            <a:ext cx="4737592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KPI‘s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75625B-1444-41A8-B114-AEA1A66044E9}"/>
              </a:ext>
            </a:extLst>
          </p:cNvPr>
          <p:cNvSpPr txBox="1"/>
          <p:nvPr/>
        </p:nvSpPr>
        <p:spPr>
          <a:xfrm>
            <a:off x="8619482" y="230001"/>
            <a:ext cx="4134966" cy="9131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indent="177800"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mmunications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ategy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for prototype?</a:t>
            </a: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‘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 </a:t>
            </a: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XPLAIN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FEEDBACK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NEGOTIATE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ERSUADE</a:t>
            </a:r>
          </a:p>
          <a:p>
            <a:pPr indent="88900" defTabSz="1219170">
              <a:buClr>
                <a:srgbClr val="000000"/>
              </a:buClr>
            </a:pPr>
            <a:endParaRPr lang="de-DE" sz="667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7E0A4AD-2F40-48CE-8454-7C71C26A8B4C}"/>
              </a:ext>
            </a:extLst>
          </p:cNvPr>
          <p:cNvSpPr txBox="1"/>
          <p:nvPr/>
        </p:nvSpPr>
        <p:spPr>
          <a:xfrm>
            <a:off x="6290490" y="229997"/>
            <a:ext cx="2280236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akeholders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D7C12C-CFB5-4216-B214-338D0A4250DB}"/>
              </a:ext>
            </a:extLst>
          </p:cNvPr>
          <p:cNvSpPr txBox="1"/>
          <p:nvPr/>
        </p:nvSpPr>
        <p:spPr>
          <a:xfrm>
            <a:off x="590870" y="5165666"/>
            <a:ext cx="3199485" cy="19388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umption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&amp; Questions</a:t>
            </a: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o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ucces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of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i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jec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21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835B1C-FFE3-41CF-8D64-8DABDC5F9323}"/>
              </a:ext>
            </a:extLst>
          </p:cNvPr>
          <p:cNvSpPr txBox="1"/>
          <p:nvPr/>
        </p:nvSpPr>
        <p:spPr>
          <a:xfrm>
            <a:off x="8614916" y="7046715"/>
            <a:ext cx="4131177" cy="97456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nsight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gained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rom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:</a:t>
            </a: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i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earn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i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fully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nswer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question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6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4CB2ED1-FFB7-4381-A916-574B827E24B2}"/>
              </a:ext>
            </a:extLst>
          </p:cNvPr>
          <p:cNvSpPr txBox="1"/>
          <p:nvPr/>
        </p:nvSpPr>
        <p:spPr>
          <a:xfrm>
            <a:off x="3833133" y="3438541"/>
            <a:ext cx="4736179" cy="130317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pproach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2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arallel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tial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Experience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caling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ol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lay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Remove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unessential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eatures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quirements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laxation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Re-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urpos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xist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duct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aper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Other:  …………………………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03549EA-88FD-4F82-B775-E311943AB39C}"/>
              </a:ext>
            </a:extLst>
          </p:cNvPr>
          <p:cNvSpPr txBox="1"/>
          <p:nvPr/>
        </p:nvSpPr>
        <p:spPr>
          <a:xfrm>
            <a:off x="3834547" y="4769977"/>
            <a:ext cx="4736179" cy="251325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Plan</a:t>
            </a:r>
            <a:endParaRPr lang="de-DE" sz="1067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etric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ede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/ Qualitative / Quantitative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esment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ime, Place, Materials &amp; People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quire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600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5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8DE0D7F6-43DC-4461-AFBA-29A5AC61567A}"/>
              </a:ext>
            </a:extLst>
          </p:cNvPr>
          <p:cNvSpPr/>
          <p:nvPr/>
        </p:nvSpPr>
        <p:spPr>
          <a:xfrm>
            <a:off x="8698490" y="58872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DF6C1D6-577C-4505-8C23-6B364879748E}"/>
              </a:ext>
            </a:extLst>
          </p:cNvPr>
          <p:cNvSpPr/>
          <p:nvPr/>
        </p:nvSpPr>
        <p:spPr>
          <a:xfrm>
            <a:off x="8698490" y="70734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DD83462-DC0B-4E82-A32C-DA1136D49ABD}"/>
              </a:ext>
            </a:extLst>
          </p:cNvPr>
          <p:cNvSpPr/>
          <p:nvPr/>
        </p:nvSpPr>
        <p:spPr>
          <a:xfrm>
            <a:off x="8698489" y="81241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69E689E-EC59-44B1-9F52-8A915648A55A}"/>
              </a:ext>
            </a:extLst>
          </p:cNvPr>
          <p:cNvSpPr/>
          <p:nvPr/>
        </p:nvSpPr>
        <p:spPr>
          <a:xfrm>
            <a:off x="8701770" y="922934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5E51471-83E9-4181-9D27-1BD5F03124A2}"/>
              </a:ext>
            </a:extLst>
          </p:cNvPr>
          <p:cNvSpPr/>
          <p:nvPr/>
        </p:nvSpPr>
        <p:spPr>
          <a:xfrm>
            <a:off x="6259379" y="3910636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972B888-7057-4EED-AF25-AB8418D37BCB}"/>
              </a:ext>
            </a:extLst>
          </p:cNvPr>
          <p:cNvSpPr/>
          <p:nvPr/>
        </p:nvSpPr>
        <p:spPr>
          <a:xfrm>
            <a:off x="6259379" y="4074413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B7220CD-C02C-4F62-9C39-CE0876FC82A5}"/>
              </a:ext>
            </a:extLst>
          </p:cNvPr>
          <p:cNvSpPr/>
          <p:nvPr/>
        </p:nvSpPr>
        <p:spPr>
          <a:xfrm>
            <a:off x="6259377" y="4409376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83F48CDD-0C97-463A-A1F4-553A7B4CCDCD}"/>
              </a:ext>
            </a:extLst>
          </p:cNvPr>
          <p:cNvSpPr/>
          <p:nvPr/>
        </p:nvSpPr>
        <p:spPr>
          <a:xfrm>
            <a:off x="6262659" y="4577361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8D27D10D-6A23-4095-886F-9C14163B7FCA}"/>
              </a:ext>
            </a:extLst>
          </p:cNvPr>
          <p:cNvSpPr/>
          <p:nvPr/>
        </p:nvSpPr>
        <p:spPr>
          <a:xfrm>
            <a:off x="6261425" y="423490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E6DFB337-BE1F-4051-8B63-EF358CCC8015}"/>
              </a:ext>
            </a:extLst>
          </p:cNvPr>
          <p:cNvSpPr/>
          <p:nvPr/>
        </p:nvSpPr>
        <p:spPr>
          <a:xfrm>
            <a:off x="3887003" y="391266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F842BD1A-AFB3-46A7-A6A8-566ED27D9C65}"/>
              </a:ext>
            </a:extLst>
          </p:cNvPr>
          <p:cNvSpPr/>
          <p:nvPr/>
        </p:nvSpPr>
        <p:spPr>
          <a:xfrm>
            <a:off x="3887003" y="4076440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4678CBFD-453C-4EA7-BC10-3338E51B0FFA}"/>
              </a:ext>
            </a:extLst>
          </p:cNvPr>
          <p:cNvSpPr/>
          <p:nvPr/>
        </p:nvSpPr>
        <p:spPr>
          <a:xfrm>
            <a:off x="3887002" y="441140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47FB9BB0-984E-4449-9206-5BFDB3C097B5}"/>
              </a:ext>
            </a:extLst>
          </p:cNvPr>
          <p:cNvSpPr/>
          <p:nvPr/>
        </p:nvSpPr>
        <p:spPr>
          <a:xfrm>
            <a:off x="3890283" y="457938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663BA905-A74A-40E4-B7CF-225F9B46F569}"/>
              </a:ext>
            </a:extLst>
          </p:cNvPr>
          <p:cNvSpPr/>
          <p:nvPr/>
        </p:nvSpPr>
        <p:spPr>
          <a:xfrm>
            <a:off x="3889050" y="4236934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1" name="Google Shape;66;p15">
            <a:extLst>
              <a:ext uri="{FF2B5EF4-FFF2-40B4-BE49-F238E27FC236}">
                <a16:creationId xmlns:a16="http://schemas.microsoft.com/office/drawing/2014/main" id="{6278DF76-9A20-440D-9EB9-49F49C4E4E00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79247" y="7441035"/>
            <a:ext cx="3168534" cy="54767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Freeform 5">
            <a:extLst>
              <a:ext uri="{FF2B5EF4-FFF2-40B4-BE49-F238E27FC236}">
                <a16:creationId xmlns:a16="http://schemas.microsoft.com/office/drawing/2014/main" id="{09E47437-6B1B-47D2-A688-85C1185E4149}"/>
              </a:ext>
            </a:extLst>
          </p:cNvPr>
          <p:cNvSpPr/>
          <p:nvPr/>
        </p:nvSpPr>
        <p:spPr>
          <a:xfrm rot="16405971">
            <a:off x="-582858" y="6642861"/>
            <a:ext cx="1573328" cy="541112"/>
          </a:xfrm>
          <a:custGeom>
            <a:avLst/>
            <a:gdLst/>
            <a:ahLst/>
            <a:cxnLst/>
            <a:rect l="l" t="t" r="r" b="b"/>
            <a:pathLst>
              <a:path w="4583229" h="1931935">
                <a:moveTo>
                  <a:pt x="0" y="0"/>
                </a:moveTo>
                <a:lnTo>
                  <a:pt x="4583229" y="0"/>
                </a:lnTo>
                <a:lnTo>
                  <a:pt x="4583229" y="1931936"/>
                </a:lnTo>
                <a:lnTo>
                  <a:pt x="0" y="1931936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9247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Props1.xml><?xml version="1.0" encoding="utf-8"?>
<ds:datastoreItem xmlns:ds="http://schemas.openxmlformats.org/officeDocument/2006/customXml" ds:itemID="{265406B8-1585-47CC-976B-9D3F7DA1D2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DE4AAC-2709-48C6-9431-DBEBEDEAF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bc4340-b040-4ab0-9594-09bc24f60c36"/>
    <ds:schemaRef ds:uri="dda4a6e4-fa3f-4326-afe4-365fbf8b88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1A3308-7371-4919-B740-228E86D18ABC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dda4a6e4-fa3f-4326-afe4-365fbf8b885d"/>
    <ds:schemaRef ds:uri="c7bc4340-b040-4ab0-9594-09bc24f60c3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7</Words>
  <Application>Microsoft Office PowerPoint</Application>
  <PresentationFormat>Breitbild</PresentationFormat>
  <Paragraphs>91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17" baseType="lpstr">
      <vt:lpstr>Arial</vt:lpstr>
      <vt:lpstr>Calibri</vt:lpstr>
      <vt:lpstr>Libre Franklin</vt:lpstr>
      <vt:lpstr>Livvic</vt:lpstr>
      <vt:lpstr>Open Sans</vt:lpstr>
      <vt:lpstr>Poppins ExtraBold</vt:lpstr>
      <vt:lpstr>Raleway Black</vt:lpstr>
      <vt:lpstr>Roboto Condensed Light</vt:lpstr>
      <vt:lpstr>Source Sans Pro</vt:lpstr>
      <vt:lpstr>Titillium Web</vt:lpstr>
      <vt:lpstr>Titillium Web Bold</vt:lpstr>
      <vt:lpstr>Management System Planner by Slidesgo</vt:lpstr>
      <vt:lpstr>2_Management System Planner by Slidesgo</vt:lpstr>
      <vt:lpstr>think-cell Slide</vt:lpstr>
      <vt:lpstr>think-cell Folie</vt:lpstr>
      <vt:lpstr>PowerPoint-Präsentation</vt:lpstr>
      <vt:lpstr>Prototype canv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e canvas</dc:title>
  <dc:creator>Sylwia Sekula-Neuner</dc:creator>
  <cp:lastModifiedBy>Sylwia Sekula-Neuner</cp:lastModifiedBy>
  <cp:revision>3</cp:revision>
  <dcterms:created xsi:type="dcterms:W3CDTF">2023-06-28T08:43:16Z</dcterms:created>
  <dcterms:modified xsi:type="dcterms:W3CDTF">2024-06-20T14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